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75" r:id="rId6"/>
    <p:sldId id="276" r:id="rId7"/>
    <p:sldId id="257" r:id="rId8"/>
    <p:sldId id="277" r:id="rId9"/>
    <p:sldId id="282" r:id="rId10"/>
    <p:sldId id="288" r:id="rId11"/>
    <p:sldId id="285" r:id="rId12"/>
    <p:sldId id="286" r:id="rId13"/>
    <p:sldId id="287" r:id="rId14"/>
    <p:sldId id="283" r:id="rId15"/>
    <p:sldId id="259" r:id="rId16"/>
    <p:sldId id="260" r:id="rId17"/>
    <p:sldId id="258" r:id="rId18"/>
    <p:sldId id="261" r:id="rId19"/>
    <p:sldId id="289" r:id="rId20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61666C0-DACF-4C6C-B0A7-34071B839D50}" v="49" dt="2023-09-29T12:40:12.5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6019385-D2D1-8ACE-4F6C-53A5D4663F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410A4D3E-AE9B-5B57-F6E3-8E23922FC2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241E7A5-09B1-A417-936A-B3F08BA26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C81E2B2-D819-36DD-75D7-1421D6FE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99FEE45-5F01-F566-CC80-5438BF4FB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1507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485A37-8938-948F-8DB6-51C737FDE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DD6DE63-8DA1-925F-311E-B5E3EA54F5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57FEAAA-C3EB-37B8-9DEC-960428E44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430F37A-DC2B-92F7-8B0E-7A1529111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CC0B67-9F05-5A61-9D75-4BA60AAB5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6447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89CF9E5-469C-6EE5-82BE-AA0E274768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F1D9B3F-CE6D-EC28-4554-53248FE6B6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EEFFE43-A70F-168F-77C6-783300760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545FA84-4432-555F-8FD5-851057654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F6320F-6C79-50E0-7123-A0F156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02471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57C1C39-3E19-97EA-D200-B46497BC5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6662C5D-B7F4-44ED-FCFF-376B121A9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941B48E-C20B-CB89-3D72-F80CC3673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41E4595-67EB-6978-ECE7-687260D40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5BE7808-D74F-4CDE-27E1-A57A8F734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350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114708-E0FD-266B-420D-92836417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1A53F73-1864-0BD0-D468-3CA1914C4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01432B1-C4E6-03B9-9886-877A47C87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6449B7D-7731-01DA-56A9-74EAD881E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D83636E-5AF2-4F82-16C7-CAB3D2E86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2238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88F398-C2F0-8D82-BE56-AF2DBE92F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8A7E596-BAF2-88EF-24BE-E07FE5521A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078BCEB-2F6B-1D98-4498-0F4548E878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9676F94-41FD-242A-F7FE-AFC1AECE1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BA8956A-4496-A92B-19D7-22D3E2613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F7AD814-3143-F037-129D-64365F783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01256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2BF6824-9D6D-A78B-9E83-AD95640F6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280EA37-9260-74FE-068F-906245B960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3E13E0F-5713-4B3C-3A13-F3CDFD267E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DC26E6F-2FF1-F2EF-A64C-3E4F14CC20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0ECF7226-3217-2735-30E0-ECA173BDD4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89D3C1C-E0F9-3D19-8E3F-A75033E90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9C40B9A7-10B9-A02E-8471-12518ED97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03F3B55-7E9F-A9BE-A905-738972D5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0114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EF7761-DF6D-CFDF-2D36-54ED158FE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F3ABAC95-094A-FB9C-18D1-079CE938D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AB9194E-41A8-1A9A-A87E-03FCEC485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AB84297F-DD47-2B94-2520-66DD10985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1154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5C32B585-047C-D77F-C38C-AF1FB4D33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78F3C8-FB75-9127-0F15-ADDC3DDA6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5D993AE-7B5F-182B-DE12-FC137FA7B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338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B2779E0-F1FC-C2D0-CABB-04E2D5C91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6302E17-7EB8-BDA1-C5A3-592F8EC4CB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0E2BB14-68E6-346A-5865-ED8BD324DB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CDF7B42-3B61-85BA-1B39-379ABED08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EAD1CB5-3FD7-9EA9-BEBA-90A47A287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EA5F3CC-98D9-934D-C363-47E553593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5280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A211A4E-D5B3-E3FF-6B7C-9115F76C3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2FD1E4F-7339-D8B9-F5A6-FA7EB0BA9E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BB6BA8F-8807-1F8D-51CA-9A05E82BAA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431833F-05F4-8D92-5FC6-179B8242E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F471CF5-6B10-309D-3587-4D618620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B6B3A34-D4EA-62F3-EE89-1C8EF942B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1064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9CDB9F2-54DE-2476-C1D1-BF214F220F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1480F0-F6EB-F8E5-758B-B505E890D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ABF5BB6-D987-2F71-5706-C9D3B29844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BEFF9A-9B08-45F2-816C-57B207AA6EA9}" type="datetimeFigureOut">
              <a:rPr lang="cs-CZ" smtClean="0"/>
              <a:t>02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2CED7F3-282C-C521-084C-32FD951B57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47FD72-5737-53C8-1335-5A2BDB5BFC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5880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mailto:gorny.david@mail.muni.cz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mestobrno.maps.arcgis.com/apps/Cascade/index.html?appid=ce90bcf3045e470f970d7032f0bbbce7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png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gorny.david@mail.muni.cz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>
            <a:extLst>
              <a:ext uri="{FF2B5EF4-FFF2-40B4-BE49-F238E27FC236}">
                <a16:creationId xmlns:a16="http://schemas.microsoft.com/office/drawing/2014/main" id="{F8446B12-7391-4711-8B31-112A0B896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AB97BCA-14BD-2690-F21C-B3CA5E70DA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479" y="5198296"/>
            <a:ext cx="8154955" cy="1400400"/>
          </a:xfrm>
        </p:spPr>
        <p:txBody>
          <a:bodyPr wrap="square" anchor="b">
            <a:noAutofit/>
          </a:bodyPr>
          <a:lstStyle/>
          <a:p>
            <a:r>
              <a:rPr lang="cs-CZ" sz="7200" b="1" dirty="0">
                <a:solidFill>
                  <a:schemeClr val="bg1"/>
                </a:solidFill>
              </a:rPr>
              <a:t>ÚZEMNÍ PLÁNOVÁNÍ A URBANISMUS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AAB6898-F86A-20E9-F1B8-D844ED043C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97912" y="4688996"/>
            <a:ext cx="3222609" cy="1766167"/>
          </a:xfrm>
          <a:solidFill>
            <a:schemeClr val="bg1"/>
          </a:solidFill>
          <a:ln>
            <a:noFill/>
          </a:ln>
        </p:spPr>
        <p:txBody>
          <a:bodyPr anchor="b">
            <a:normAutofit/>
          </a:bodyPr>
          <a:lstStyle/>
          <a:p>
            <a:r>
              <a:rPr lang="cs-CZ" sz="2000" dirty="0"/>
              <a:t>Cvičení:</a:t>
            </a:r>
          </a:p>
          <a:p>
            <a:r>
              <a:rPr lang="cs-CZ" sz="2000" dirty="0"/>
              <a:t>David Gorný</a:t>
            </a:r>
            <a:br>
              <a:rPr lang="cs-CZ" sz="2000" dirty="0"/>
            </a:br>
            <a:r>
              <a:rPr lang="cs-CZ" sz="20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rny.david@mail.muni.cz</a:t>
            </a:r>
            <a:r>
              <a:rPr lang="cs-CZ" sz="2000" dirty="0"/>
              <a:t>  </a:t>
            </a:r>
          </a:p>
          <a:p>
            <a:r>
              <a:rPr lang="cs-CZ" sz="2000" dirty="0"/>
              <a:t>UČO: 460 634</a:t>
            </a:r>
            <a:br>
              <a:rPr lang="cs-CZ" sz="2000" dirty="0"/>
            </a:br>
            <a:r>
              <a:rPr lang="cs-CZ" sz="2000" dirty="0"/>
              <a:t>Pracovna: 03015</a:t>
            </a:r>
          </a:p>
        </p:txBody>
      </p:sp>
      <p:pic>
        <p:nvPicPr>
          <p:cNvPr id="4" name="Obrázek 3" descr="Obsah obrázku text, mapa&#10;&#10;Popis byl vytvořen automaticky">
            <a:extLst>
              <a:ext uri="{FF2B5EF4-FFF2-40B4-BE49-F238E27FC236}">
                <a16:creationId xmlns:a16="http://schemas.microsoft.com/office/drawing/2014/main" id="{AD634787-ABFD-33A9-7BA5-9BEA05785EC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47" b="8788"/>
          <a:stretch/>
        </p:blipFill>
        <p:spPr>
          <a:xfrm>
            <a:off x="20" y="-1"/>
            <a:ext cx="12191980" cy="3984912"/>
          </a:xfrm>
          <a:custGeom>
            <a:avLst/>
            <a:gdLst/>
            <a:ahLst/>
            <a:cxnLst/>
            <a:rect l="l" t="t" r="r" b="b"/>
            <a:pathLst>
              <a:path w="12192000" h="3984912">
                <a:moveTo>
                  <a:pt x="0" y="0"/>
                </a:moveTo>
                <a:lnTo>
                  <a:pt x="12192000" y="0"/>
                </a:lnTo>
                <a:lnTo>
                  <a:pt x="12192000" y="566059"/>
                </a:lnTo>
                <a:lnTo>
                  <a:pt x="12192000" y="794037"/>
                </a:lnTo>
                <a:lnTo>
                  <a:pt x="12192000" y="2336800"/>
                </a:lnTo>
                <a:lnTo>
                  <a:pt x="12192000" y="2631227"/>
                </a:lnTo>
                <a:lnTo>
                  <a:pt x="12192000" y="3908712"/>
                </a:lnTo>
                <a:lnTo>
                  <a:pt x="9439275" y="3984912"/>
                </a:lnTo>
                <a:lnTo>
                  <a:pt x="5572127" y="3737262"/>
                </a:lnTo>
                <a:lnTo>
                  <a:pt x="0" y="3908712"/>
                </a:lnTo>
                <a:lnTo>
                  <a:pt x="0" y="2631227"/>
                </a:lnTo>
                <a:lnTo>
                  <a:pt x="0" y="2336800"/>
                </a:lnTo>
                <a:lnTo>
                  <a:pt x="0" y="794037"/>
                </a:lnTo>
                <a:lnTo>
                  <a:pt x="0" y="566059"/>
                </a:lnTo>
                <a:close/>
              </a:path>
            </a:pathLst>
          </a:custGeom>
        </p:spPr>
      </p:pic>
      <p:grpSp>
        <p:nvGrpSpPr>
          <p:cNvPr id="7" name="Group 10">
            <a:extLst>
              <a:ext uri="{FF2B5EF4-FFF2-40B4-BE49-F238E27FC236}">
                <a16:creationId xmlns:a16="http://schemas.microsoft.com/office/drawing/2014/main" id="{AC0B7807-0C83-4963-821A-69B172722E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3528992"/>
            <a:ext cx="12192000" cy="757168"/>
            <a:chOff x="0" y="2959818"/>
            <a:chExt cx="12192000" cy="757168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B027EC7-3252-48A2-A7A4-1741F72E47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1524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: Shape 12">
              <a:extLst>
                <a:ext uri="{FF2B5EF4-FFF2-40B4-BE49-F238E27FC236}">
                  <a16:creationId xmlns:a16="http://schemas.microsoft.com/office/drawing/2014/main" id="{4EBC51E4-7477-4290-BBD0-18AD942C36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blipFill>
              <a:blip r:embed="rId4">
                <a:alphaModFix amt="57000"/>
              </a:blip>
              <a:tile tx="0" ty="0" sx="100000" sy="100000" flip="none" algn="tl"/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96073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213BE2B-91D0-4D28-8EE5-6170B295D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3224" y="1828800"/>
            <a:ext cx="3346513" cy="4191000"/>
          </a:xfrm>
        </p:spPr>
        <p:txBody>
          <a:bodyPr/>
          <a:lstStyle/>
          <a:p>
            <a:r>
              <a:rPr lang="cs-CZ" sz="2000" dirty="0"/>
              <a:t>Města </a:t>
            </a:r>
            <a:r>
              <a:rPr lang="cs-CZ" sz="2000" b="1" dirty="0"/>
              <a:t>s porušeným pravoúhlým půdorysem, ovlivněným terénem nebo průběhem komunikací.</a:t>
            </a:r>
          </a:p>
          <a:p>
            <a:pPr marL="0" indent="0">
              <a:buNone/>
            </a:pPr>
            <a:endParaRPr lang="cs-CZ" sz="2000" b="1" dirty="0"/>
          </a:p>
          <a:p>
            <a:r>
              <a:rPr lang="cs-CZ" b="1" dirty="0"/>
              <a:t>Hulín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F193676-6045-4CB9-9E39-CD08B3C8CB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9923" y="1988841"/>
            <a:ext cx="6465105" cy="4460023"/>
          </a:xfrm>
          <a:prstGeom prst="rect">
            <a:avLst/>
          </a:prstGeom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50006ECD-214E-E34A-25D2-61C17209B1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cs-CZ" b="1" u="sng" dirty="0"/>
              <a:t>TYPY ZAKLÁDANÝCH MĚST </a:t>
            </a:r>
          </a:p>
        </p:txBody>
      </p:sp>
      <p:pic>
        <p:nvPicPr>
          <p:cNvPr id="8" name="Obrázek 7" descr="Obsah obrázku text, mapa&#10;&#10;Popis byl vytvořen automaticky">
            <a:extLst>
              <a:ext uri="{FF2B5EF4-FFF2-40B4-BE49-F238E27FC236}">
                <a16:creationId xmlns:a16="http://schemas.microsoft.com/office/drawing/2014/main" id="{38CD51C0-6551-0233-CF4B-2DEEBAE6E65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96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213BE2B-91D0-4D28-8EE5-6170B295D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2128" y="1828800"/>
            <a:ext cx="3170199" cy="4191000"/>
          </a:xfrm>
        </p:spPr>
        <p:txBody>
          <a:bodyPr/>
          <a:lstStyle/>
          <a:p>
            <a:r>
              <a:rPr lang="cs-CZ" sz="2000" dirty="0"/>
              <a:t>Města </a:t>
            </a:r>
            <a:r>
              <a:rPr lang="cs-CZ" sz="2000" b="1" dirty="0"/>
              <a:t>s dominantní ulicí.</a:t>
            </a:r>
          </a:p>
          <a:p>
            <a:r>
              <a:rPr lang="cs-CZ" sz="2000" b="1" dirty="0"/>
              <a:t>Žebrového, žebříkovitého, duálního podtypu.</a:t>
            </a:r>
          </a:p>
          <a:p>
            <a:r>
              <a:rPr lang="cs-CZ" sz="2000" dirty="0"/>
              <a:t>Poměrně rozšířená, vliv dopravy.</a:t>
            </a:r>
          </a:p>
          <a:p>
            <a:pPr marL="0" indent="0">
              <a:buNone/>
            </a:pPr>
            <a:endParaRPr lang="cs-CZ" sz="2000" dirty="0"/>
          </a:p>
          <a:p>
            <a:r>
              <a:rPr lang="cs-CZ" b="1" dirty="0"/>
              <a:t>Letovice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32DD527-057B-4236-9B39-D5E199D8C9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768" y="2132857"/>
            <a:ext cx="7902104" cy="3796295"/>
          </a:xfrm>
          <a:prstGeom prst="rect">
            <a:avLst/>
          </a:prstGeom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2EF46BE2-3D61-EF0F-BBAF-7A6230FC04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cs-CZ" b="1" u="sng" dirty="0"/>
              <a:t>TYPY ZAKLÁDANÝCH MĚST </a:t>
            </a:r>
          </a:p>
        </p:txBody>
      </p:sp>
      <p:pic>
        <p:nvPicPr>
          <p:cNvPr id="8" name="Obrázek 7" descr="Obsah obrázku text, mapa&#10;&#10;Popis byl vytvořen automaticky">
            <a:extLst>
              <a:ext uri="{FF2B5EF4-FFF2-40B4-BE49-F238E27FC236}">
                <a16:creationId xmlns:a16="http://schemas.microsoft.com/office/drawing/2014/main" id="{3BCEACDA-6C3B-AC1E-E0A5-FE2EDCF6EB8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72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2D0C2C9-3AF1-AD39-D3D2-A9A62806F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u="sng" dirty="0"/>
              <a:t>ZADÁNÍ CVIČENÍ 1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0AA0F2C-8E88-6A59-A1A5-CCEA26A2FC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200" dirty="0"/>
              <a:t>Na základě podkladů (např. Láznička – práce Moravská města z roku 1948) si vyberte </a:t>
            </a:r>
            <a:br>
              <a:rPr lang="cs-CZ" sz="2200" dirty="0"/>
            </a:br>
            <a:r>
              <a:rPr lang="cs-CZ" sz="2200" b="1" dirty="0"/>
              <a:t>dvě</a:t>
            </a:r>
            <a:r>
              <a:rPr lang="cs-CZ" sz="2200" dirty="0"/>
              <a:t> </a:t>
            </a:r>
            <a:r>
              <a:rPr lang="cs-CZ" sz="2200" b="1" dirty="0"/>
              <a:t>moravská zakládaná města </a:t>
            </a:r>
            <a:r>
              <a:rPr lang="cs-CZ" sz="2200" dirty="0"/>
              <a:t>a velice stručně popište jejich morfostrukturu, typ, historické podmínky založení. </a:t>
            </a:r>
          </a:p>
          <a:p>
            <a:r>
              <a:rPr lang="cs-CZ" sz="2200" dirty="0"/>
              <a:t>Původní strukturu města </a:t>
            </a:r>
            <a:r>
              <a:rPr lang="cs-CZ" sz="2200" b="1" dirty="0"/>
              <a:t>doložte snímkem z II./III. vojenského mapování.</a:t>
            </a:r>
            <a:br>
              <a:rPr lang="cs-CZ" sz="2200" b="1" dirty="0"/>
            </a:br>
            <a:r>
              <a:rPr lang="cs-CZ" sz="2200" b="1" dirty="0"/>
              <a:t>                                                                        </a:t>
            </a:r>
            <a:r>
              <a:rPr lang="cs-CZ" sz="2200" i="1" dirty="0"/>
              <a:t>(či jiných historických map)</a:t>
            </a:r>
          </a:p>
          <a:p>
            <a:r>
              <a:rPr lang="cs-CZ" sz="2200" dirty="0"/>
              <a:t>Aktuální strukturu městského plánu (kompozice) se pokuste </a:t>
            </a:r>
            <a:r>
              <a:rPr lang="cs-CZ" sz="2200" b="1" dirty="0"/>
              <a:t>doložit současným leteckým snímkem.</a:t>
            </a:r>
          </a:p>
          <a:p>
            <a:r>
              <a:rPr lang="cs-CZ" sz="2200" dirty="0"/>
              <a:t>Stručně </a:t>
            </a:r>
            <a:r>
              <a:rPr lang="cs-CZ" sz="2200" b="1" dirty="0"/>
              <a:t>zhodnoťte nejvýraznější změny</a:t>
            </a:r>
            <a:r>
              <a:rPr lang="cs-CZ" sz="2200" dirty="0"/>
              <a:t>, které modifikovaly středověkou formu města.</a:t>
            </a:r>
          </a:p>
          <a:p>
            <a:endParaRPr lang="cs-CZ" sz="2200" dirty="0"/>
          </a:p>
          <a:p>
            <a:endParaRPr lang="cs-CZ" sz="2200" dirty="0"/>
          </a:p>
          <a:p>
            <a:r>
              <a:rPr lang="cs-CZ" sz="2200" dirty="0"/>
              <a:t>Lze čerpat i z Kuča (1996): Města a městečka v Čechách na Moravě a ve Slezsku</a:t>
            </a:r>
          </a:p>
          <a:p>
            <a:endParaRPr lang="cs-CZ" dirty="0"/>
          </a:p>
        </p:txBody>
      </p:sp>
      <p:pic>
        <p:nvPicPr>
          <p:cNvPr id="4" name="Obrázek 3" descr="Obsah obrázku text, mapa&#10;&#10;Popis byl vytvořen automaticky">
            <a:extLst>
              <a:ext uri="{FF2B5EF4-FFF2-40B4-BE49-F238E27FC236}">
                <a16:creationId xmlns:a16="http://schemas.microsoft.com/office/drawing/2014/main" id="{B7576CFA-09DC-F04B-B470-1D2ED4C1B77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3486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D70D7CE-8A5C-C93D-4644-40F99E9EAB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200" dirty="0"/>
              <a:t>Věcně, formálně na úrovni.</a:t>
            </a:r>
          </a:p>
          <a:p>
            <a:r>
              <a:rPr lang="cs-CZ" sz="2200" dirty="0"/>
              <a:t>Rozsah </a:t>
            </a:r>
            <a:r>
              <a:rPr lang="cs-CZ" sz="2200" b="1" dirty="0"/>
              <a:t>max. 2 A4.</a:t>
            </a:r>
          </a:p>
          <a:p>
            <a:endParaRPr lang="cs-CZ" sz="2200" dirty="0"/>
          </a:p>
          <a:p>
            <a:r>
              <a:rPr lang="cs-CZ" sz="2200" dirty="0"/>
              <a:t>Příští hodina: </a:t>
            </a:r>
            <a:br>
              <a:rPr lang="cs-CZ" sz="2200" dirty="0"/>
            </a:br>
            <a:r>
              <a:rPr lang="cs-CZ" sz="2200" dirty="0"/>
              <a:t>Své práce odprezentují </a:t>
            </a:r>
            <a:r>
              <a:rPr lang="cs-CZ" sz="2200" b="1" dirty="0"/>
              <a:t>2 studenti (5 minut). </a:t>
            </a:r>
          </a:p>
          <a:p>
            <a:pPr marL="0" indent="0">
              <a:buNone/>
            </a:pPr>
            <a:r>
              <a:rPr lang="cs-CZ" sz="2200" i="1" dirty="0"/>
              <a:t>         (dobrovolníci, případně náhodně vyberu 2 lidi na hodině)</a:t>
            </a:r>
          </a:p>
          <a:p>
            <a:pPr marL="0" indent="0">
              <a:buNone/>
            </a:pPr>
            <a:endParaRPr lang="cs-CZ" sz="2200" dirty="0"/>
          </a:p>
          <a:p>
            <a:pPr marL="0" indent="0">
              <a:buNone/>
            </a:pPr>
            <a:endParaRPr lang="cs-CZ" sz="2200" dirty="0"/>
          </a:p>
          <a:p>
            <a:pPr marL="0" indent="0">
              <a:buNone/>
            </a:pPr>
            <a:endParaRPr lang="cs-CZ" sz="2200" dirty="0"/>
          </a:p>
          <a:p>
            <a:r>
              <a:rPr lang="cs-CZ" sz="2400" dirty="0"/>
              <a:t>DEADLINE: </a:t>
            </a:r>
            <a:r>
              <a:rPr lang="cs-CZ" sz="2400" b="1" dirty="0"/>
              <a:t>PONDĚLÍ 9.10. 2023   5:59 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9D5DADCC-2777-DBD4-11D5-90092B405AD3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b="1" u="sng"/>
              <a:t>ZADÁNÍ CVIČENÍ 1</a:t>
            </a:r>
            <a:endParaRPr lang="cs-CZ" b="1" u="sng" dirty="0"/>
          </a:p>
        </p:txBody>
      </p:sp>
      <p:pic>
        <p:nvPicPr>
          <p:cNvPr id="5" name="Obrázek 4" descr="Obsah obrázku text, mapa&#10;&#10;Popis byl vytvořen automaticky">
            <a:extLst>
              <a:ext uri="{FF2B5EF4-FFF2-40B4-BE49-F238E27FC236}">
                <a16:creationId xmlns:a16="http://schemas.microsoft.com/office/drawing/2014/main" id="{056A1CFD-740A-37C5-E285-02291A79EC0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529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60311FA-58FB-7E52-5AAF-D1FD03B322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808440"/>
          </a:xfrm>
        </p:spPr>
        <p:txBody>
          <a:bodyPr>
            <a:normAutofit/>
          </a:bodyPr>
          <a:lstStyle/>
          <a:p>
            <a:r>
              <a:rPr lang="cs-CZ" sz="2200" dirty="0"/>
              <a:t>Při popisu je možné s inspirovat Lázničkou, nebo i používat vlastní pojmy.</a:t>
            </a:r>
          </a:p>
          <a:p>
            <a:r>
              <a:rPr lang="cs-CZ" sz="2200" dirty="0"/>
              <a:t>Všímat si nejen toho:</a:t>
            </a:r>
            <a:br>
              <a:rPr lang="cs-CZ" sz="2200" dirty="0"/>
            </a:br>
            <a:r>
              <a:rPr lang="cs-CZ" sz="2200" dirty="0"/>
              <a:t>                     jak město vypadá, jak vypadá jeho </a:t>
            </a:r>
            <a:r>
              <a:rPr lang="cs-CZ" sz="2200" b="1" dirty="0"/>
              <a:t>layout</a:t>
            </a:r>
            <a:br>
              <a:rPr lang="cs-CZ" sz="2200" dirty="0"/>
            </a:br>
            <a:r>
              <a:rPr lang="cs-CZ" sz="2200" dirty="0"/>
              <a:t>                     ale i jak do jeho fyzické podoby promlouvají nějaké </a:t>
            </a:r>
            <a:r>
              <a:rPr lang="cs-CZ" sz="2200" b="1" dirty="0"/>
              <a:t>přírodní podmínky</a:t>
            </a:r>
          </a:p>
          <a:p>
            <a:pPr marL="0" indent="0">
              <a:buNone/>
            </a:pPr>
            <a:endParaRPr lang="cs-CZ" sz="2200" b="1" dirty="0"/>
          </a:p>
          <a:p>
            <a:r>
              <a:rPr lang="cs-CZ" sz="2200" dirty="0"/>
              <a:t>Řada měst může mít historické jádro lokalizováno v komplikovanějších podmínkách….</a:t>
            </a:r>
          </a:p>
          <a:p>
            <a:endParaRPr lang="cs-CZ" sz="2200" dirty="0"/>
          </a:p>
          <a:p>
            <a:r>
              <a:rPr lang="cs-CZ" sz="2200" b="1" dirty="0"/>
              <a:t>Cílem cvičení: </a:t>
            </a:r>
            <a:r>
              <a:rPr lang="cs-CZ" sz="2200" dirty="0"/>
              <a:t>ukázat, že existují města, která už v období ranného středověku vznikala podle nějakého plánu (v řadě případů na „zelené louce“); uvědomění si, že významnou úlohu v té době hráli tzv. lokátoři. </a:t>
            </a: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DD67AD73-DAAA-6C32-1588-5FFC394B3DD8}"/>
              </a:ext>
            </a:extLst>
          </p:cNvPr>
          <p:cNvSpPr txBox="1">
            <a:spLocks/>
          </p:cNvSpPr>
          <p:nvPr/>
        </p:nvSpPr>
        <p:spPr>
          <a:xfrm>
            <a:off x="962608" y="40555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b="1" u="sng" dirty="0"/>
              <a:t>1. CVIČENÍ</a:t>
            </a:r>
          </a:p>
        </p:txBody>
      </p:sp>
      <p:pic>
        <p:nvPicPr>
          <p:cNvPr id="7" name="Obrázek 6" descr="Obsah obrázku text, mapa&#10;&#10;Popis byl vytvořen automaticky">
            <a:extLst>
              <a:ext uri="{FF2B5EF4-FFF2-40B4-BE49-F238E27FC236}">
                <a16:creationId xmlns:a16="http://schemas.microsoft.com/office/drawing/2014/main" id="{51BA4970-4808-E3CF-D897-55FAC88E2C8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0233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456D767-C74F-3D88-1712-9A9C0D3E8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u="sng" dirty="0"/>
              <a:t>BRNO – VÝVOJ MĚSTA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FFCFEC9-7F6E-C9EF-274E-8006A67BA8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>
                <a:hlinkClick r:id="rId2"/>
              </a:rPr>
              <a:t>Historie Velkého Brna (arcgis.com)</a:t>
            </a:r>
            <a:endParaRPr lang="cs-CZ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23A7CC76-393E-96B6-331F-8A35CB2225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700" y="2880618"/>
            <a:ext cx="6991350" cy="3268733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EEDC11A1-3697-4694-4A97-33E3E9A9B78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2335" y="2726009"/>
            <a:ext cx="4482965" cy="3577953"/>
          </a:xfrm>
          <a:prstGeom prst="rect">
            <a:avLst/>
          </a:prstGeom>
        </p:spPr>
      </p:pic>
      <p:pic>
        <p:nvPicPr>
          <p:cNvPr id="12" name="Obrázek 11" descr="Obsah obrázku text, mapa&#10;&#10;Popis byl vytvořen automaticky">
            <a:extLst>
              <a:ext uri="{FF2B5EF4-FFF2-40B4-BE49-F238E27FC236}">
                <a16:creationId xmlns:a16="http://schemas.microsoft.com/office/drawing/2014/main" id="{AB461824-1B2D-F75D-5F99-61CC04902010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7351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F4C4281-F465-1EB3-2681-234C9784D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cs-CZ" b="1" dirty="0"/>
              <a:t>DĚKUJI ZA POZORNOST</a:t>
            </a:r>
          </a:p>
        </p:txBody>
      </p:sp>
      <p:pic>
        <p:nvPicPr>
          <p:cNvPr id="4" name="Obrázek 3" descr="Obsah obrázku text, mapa&#10;&#10;Popis byl vytvořen automaticky">
            <a:extLst>
              <a:ext uri="{FF2B5EF4-FFF2-40B4-BE49-F238E27FC236}">
                <a16:creationId xmlns:a16="http://schemas.microsoft.com/office/drawing/2014/main" id="{AA3E1C9B-34FD-7ACD-7183-2B964ED5630B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789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7427F1-2A66-4F34-9ACB-E85E8B4FE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4800" b="1" u="sng" dirty="0"/>
              <a:t>PODMÍNKY CVIČENÍ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41A2FAA7-C165-4DEE-8787-F6FA0BA6A16F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cs-CZ" sz="2200" dirty="0"/>
          </a:p>
          <a:p>
            <a:r>
              <a:rPr lang="cs-CZ" sz="2200" b="1" dirty="0">
                <a:solidFill>
                  <a:schemeClr val="tx2">
                    <a:lumMod val="50000"/>
                  </a:schemeClr>
                </a:solidFill>
              </a:rPr>
              <a:t>1 neomluvená absence za semestr</a:t>
            </a:r>
            <a:r>
              <a:rPr lang="cs-CZ" sz="2200" dirty="0"/>
              <a:t>, neomezený počet omluvených absencí.</a:t>
            </a:r>
          </a:p>
          <a:p>
            <a:r>
              <a:rPr lang="cs-CZ" sz="2200" dirty="0"/>
              <a:t>Erasmus: individuální domluva s přednášejícím (cvičícím).</a:t>
            </a:r>
          </a:p>
          <a:p>
            <a:pPr marL="0" indent="0">
              <a:buNone/>
            </a:pPr>
            <a:endParaRPr lang="cs-CZ" sz="2200" dirty="0"/>
          </a:p>
          <a:p>
            <a:r>
              <a:rPr lang="cs-CZ" sz="2200" dirty="0"/>
              <a:t>I při absenci nutnost odevzdání všech cvičení!</a:t>
            </a:r>
          </a:p>
          <a:p>
            <a:endParaRPr lang="cs-CZ" sz="2200" dirty="0"/>
          </a:p>
          <a:p>
            <a:r>
              <a:rPr lang="cs-CZ" sz="2200" b="1" dirty="0"/>
              <a:t>Kontakt: </a:t>
            </a:r>
            <a:r>
              <a:rPr lang="cs-CZ" sz="2200" dirty="0">
                <a:hlinkClick r:id="rId3"/>
              </a:rPr>
              <a:t>gorny.david@mail.muni.cz</a:t>
            </a:r>
            <a:r>
              <a:rPr lang="cs-CZ" sz="2200" dirty="0"/>
              <a:t> / pracovna 03015 (budova menzy)</a:t>
            </a:r>
          </a:p>
          <a:p>
            <a:r>
              <a:rPr lang="cs-CZ" sz="2200" dirty="0"/>
              <a:t>Dotazy kdykoliv (během hodiny / po hodině).</a:t>
            </a:r>
          </a:p>
          <a:p>
            <a:pPr marL="0" indent="0">
              <a:buNone/>
            </a:pPr>
            <a:endParaRPr lang="cs-CZ" sz="2200" dirty="0"/>
          </a:p>
          <a:p>
            <a:endParaRPr lang="cs-CZ" dirty="0"/>
          </a:p>
        </p:txBody>
      </p:sp>
      <p:pic>
        <p:nvPicPr>
          <p:cNvPr id="6" name="Obrázek 5" descr="Obsah obrázku text, mapa&#10;&#10;Popis byl vytvořen automaticky">
            <a:extLst>
              <a:ext uri="{FF2B5EF4-FFF2-40B4-BE49-F238E27FC236}">
                <a16:creationId xmlns:a16="http://schemas.microsoft.com/office/drawing/2014/main" id="{8EABB324-E315-C5AC-9F1B-62AD844283FF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21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7427F1-2A66-4F34-9ACB-E85E8B4FEF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4800" b="1" u="sng" dirty="0"/>
              <a:t>PODMÍNKY CVIČENÍ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41A2FAA7-C165-4DEE-8787-F6FA0BA6A16F}"/>
              </a:ext>
            </a:extLst>
          </p:cNvPr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cs-CZ" sz="2200" dirty="0"/>
          </a:p>
          <a:p>
            <a:r>
              <a:rPr lang="cs-CZ" sz="2200" dirty="0"/>
              <a:t>Na vypracování cvičení bude </a:t>
            </a:r>
            <a:r>
              <a:rPr lang="cs-CZ" sz="2200" b="1" dirty="0">
                <a:solidFill>
                  <a:schemeClr val="tx2">
                    <a:lumMod val="50000"/>
                  </a:schemeClr>
                </a:solidFill>
              </a:rPr>
              <a:t>většinou 1 týden (deadliny v pondělí ráno).</a:t>
            </a:r>
          </a:p>
          <a:p>
            <a:r>
              <a:rPr lang="cs-CZ" sz="2200" dirty="0"/>
              <a:t>Některá cvičení word/PPT; u některých je možné, že pouze ve formě poznámek na hodinu  (</a:t>
            </a:r>
            <a:r>
              <a:rPr lang="cs-CZ" sz="2200" i="1" dirty="0"/>
              <a:t>bude upřesněno</a:t>
            </a:r>
            <a:r>
              <a:rPr lang="cs-CZ" sz="2200" dirty="0"/>
              <a:t>).</a:t>
            </a:r>
          </a:p>
          <a:p>
            <a:endParaRPr lang="cs-CZ" sz="2200" dirty="0"/>
          </a:p>
          <a:p>
            <a:r>
              <a:rPr lang="cs-CZ" sz="2200" dirty="0"/>
              <a:t>Pozdní odevzdání: zaslat emailem  (+ </a:t>
            </a:r>
            <a:r>
              <a:rPr lang="cs-CZ" sz="2200" i="1" dirty="0"/>
              <a:t>úkol navíc</a:t>
            </a:r>
            <a:r>
              <a:rPr lang="cs-CZ" sz="2200" dirty="0"/>
              <a:t>).</a:t>
            </a:r>
          </a:p>
          <a:p>
            <a:r>
              <a:rPr lang="cs-CZ" sz="2200" b="1" dirty="0"/>
              <a:t>HODNOCENÍ:   </a:t>
            </a:r>
            <a:r>
              <a:rPr lang="cs-CZ" sz="2200" dirty="0">
                <a:solidFill>
                  <a:schemeClr val="accent6">
                    <a:lumMod val="75000"/>
                  </a:schemeClr>
                </a:solidFill>
              </a:rPr>
              <a:t>UZNÁNO</a:t>
            </a:r>
            <a:r>
              <a:rPr lang="cs-CZ" sz="2200" dirty="0"/>
              <a:t>/</a:t>
            </a:r>
            <a:r>
              <a:rPr lang="cs-CZ" sz="2200" dirty="0">
                <a:solidFill>
                  <a:srgbClr val="C00000"/>
                </a:solidFill>
              </a:rPr>
              <a:t>NEUZNÁNO</a:t>
            </a:r>
            <a:br>
              <a:rPr lang="cs-CZ" sz="2200" dirty="0"/>
            </a:br>
            <a:r>
              <a:rPr lang="cs-CZ" sz="2200" dirty="0"/>
              <a:t>                           </a:t>
            </a:r>
            <a:r>
              <a:rPr lang="cs-CZ" sz="2200" dirty="0">
                <a:solidFill>
                  <a:schemeClr val="accent6">
                    <a:lumMod val="75000"/>
                  </a:schemeClr>
                </a:solidFill>
              </a:rPr>
              <a:t>UZNÁNO S VYZNAMENÁNÍM / UZNÁNO S VÝHRADAMI</a:t>
            </a:r>
          </a:p>
          <a:p>
            <a:pPr marL="0" indent="0">
              <a:buNone/>
            </a:pPr>
            <a:br>
              <a:rPr lang="cs-CZ" sz="2200" dirty="0"/>
            </a:br>
            <a:r>
              <a:rPr lang="cs-CZ" sz="2200" dirty="0"/>
              <a:t>                               </a:t>
            </a:r>
            <a:r>
              <a:rPr lang="cs-CZ" sz="2200" dirty="0">
                <a:solidFill>
                  <a:srgbClr val="C00000"/>
                </a:solidFill>
              </a:rPr>
              <a:t>NEUZNÁNO</a:t>
            </a:r>
            <a:r>
              <a:rPr lang="cs-CZ" sz="2200" dirty="0"/>
              <a:t> = nutnost přepracovat. </a:t>
            </a:r>
          </a:p>
          <a:p>
            <a:endParaRPr lang="cs-CZ" dirty="0"/>
          </a:p>
        </p:txBody>
      </p:sp>
      <p:pic>
        <p:nvPicPr>
          <p:cNvPr id="4" name="Obrázek 3" descr="Obsah obrázku text, mapa&#10;&#10;Popis byl vytvořen automaticky">
            <a:extLst>
              <a:ext uri="{FF2B5EF4-FFF2-40B4-BE49-F238E27FC236}">
                <a16:creationId xmlns:a16="http://schemas.microsoft.com/office/drawing/2014/main" id="{47CFCE13-35C4-51DA-18BB-843FE067CE0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6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B4B88C1-79E2-A162-43A8-C854D501C1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4265" y="1679510"/>
            <a:ext cx="11114314" cy="5178490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cs-CZ" sz="2200" i="0" dirty="0">
                <a:solidFill>
                  <a:srgbClr val="2D3E48"/>
                </a:solidFill>
                <a:effectLst/>
              </a:rPr>
              <a:t>Řada měst ve starověku či středověku byla plánována ať už z hlediska půdorysu či lokace.</a:t>
            </a:r>
          </a:p>
          <a:p>
            <a:pPr marL="0" indent="0">
              <a:buNone/>
            </a:pPr>
            <a:endParaRPr lang="cs-CZ" sz="2200" i="0" dirty="0">
              <a:solidFill>
                <a:srgbClr val="2D3E48"/>
              </a:solidFill>
              <a:effectLst/>
            </a:endParaRPr>
          </a:p>
          <a:p>
            <a:pPr marL="0" indent="0">
              <a:buNone/>
            </a:pPr>
            <a:r>
              <a:rPr lang="cs-CZ" sz="2200" b="1" i="0" u="sng" dirty="0">
                <a:solidFill>
                  <a:srgbClr val="2D3E48"/>
                </a:solidFill>
                <a:effectLst/>
              </a:rPr>
              <a:t>PŘÍMÁ NÁVAZNOST NA MĚSTO ANTIC</a:t>
            </a:r>
            <a:r>
              <a:rPr lang="cs-CZ" sz="2200" b="1" u="sng" dirty="0">
                <a:solidFill>
                  <a:srgbClr val="2D3E48"/>
                </a:solidFill>
              </a:rPr>
              <a:t>KÉ</a:t>
            </a:r>
          </a:p>
          <a:p>
            <a:r>
              <a:rPr lang="cs-CZ" sz="2200" dirty="0">
                <a:solidFill>
                  <a:srgbClr val="2D3E48"/>
                </a:solidFill>
              </a:rPr>
              <a:t>D</a:t>
            </a:r>
            <a:r>
              <a:rPr lang="cs-CZ" sz="2200" b="0" i="0" dirty="0">
                <a:solidFill>
                  <a:srgbClr val="2D3E48"/>
                </a:solidFill>
                <a:effectLst/>
              </a:rPr>
              <a:t>ocházelo k obnovení původního města (mnoho z nich na křižovatkách důležitých obchodních tras).</a:t>
            </a:r>
          </a:p>
          <a:p>
            <a:r>
              <a:rPr lang="cs-CZ" sz="2200" b="0" i="0" dirty="0">
                <a:solidFill>
                  <a:srgbClr val="2D3E48"/>
                </a:solidFill>
                <a:effectLst/>
              </a:rPr>
              <a:t>Města také zakládána na místech bývalých řemeslnických nebo obchodních osad ležících u významných míst.</a:t>
            </a:r>
          </a:p>
          <a:p>
            <a:endParaRPr lang="cs-CZ" sz="2200" b="0" i="0" dirty="0">
              <a:solidFill>
                <a:srgbClr val="2D3E48"/>
              </a:solidFill>
              <a:effectLst/>
            </a:endParaRPr>
          </a:p>
          <a:p>
            <a:pPr marL="0" indent="0">
              <a:buNone/>
            </a:pPr>
            <a:r>
              <a:rPr lang="cs-CZ" sz="2200" b="1" u="sng" dirty="0">
                <a:solidFill>
                  <a:srgbClr val="2D3E48"/>
                </a:solidFill>
              </a:rPr>
              <a:t>VZNIK MĚST NA „ZELENÉ LOUCE“</a:t>
            </a:r>
          </a:p>
          <a:p>
            <a:r>
              <a:rPr lang="cs-CZ" sz="2200" dirty="0">
                <a:solidFill>
                  <a:srgbClr val="2D3E48"/>
                </a:solidFill>
              </a:rPr>
              <a:t>Místo pro založení nového města -&gt; </a:t>
            </a:r>
            <a:r>
              <a:rPr lang="cs-CZ" sz="2200" b="1" dirty="0">
                <a:solidFill>
                  <a:srgbClr val="2D3E48"/>
                </a:solidFill>
              </a:rPr>
              <a:t>tzv. lokátor: </a:t>
            </a:r>
            <a:r>
              <a:rPr lang="cs-CZ" sz="2200" dirty="0">
                <a:solidFill>
                  <a:srgbClr val="2D3E48"/>
                </a:solidFill>
              </a:rPr>
              <a:t>musel vzít v úvahu polohu budoucího města </a:t>
            </a:r>
            <a:r>
              <a:rPr lang="cs-CZ" sz="2200" b="1" dirty="0">
                <a:solidFill>
                  <a:srgbClr val="2D3E48"/>
                </a:solidFill>
              </a:rPr>
              <a:t>z mnoha hledisek – ekonomické, vojenské či komunikační</a:t>
            </a:r>
            <a:r>
              <a:rPr lang="cs-CZ" sz="2200" dirty="0">
                <a:solidFill>
                  <a:srgbClr val="2D3E48"/>
                </a:solidFill>
              </a:rPr>
              <a:t>. </a:t>
            </a:r>
          </a:p>
          <a:p>
            <a:r>
              <a:rPr lang="cs-CZ" sz="2200" dirty="0">
                <a:solidFill>
                  <a:srgbClr val="2D3E48"/>
                </a:solidFill>
              </a:rPr>
              <a:t>Město bylo často obehnáno hradbami s obrannými věžemi (baštami) a městskými bránami. </a:t>
            </a:r>
          </a:p>
          <a:p>
            <a:r>
              <a:rPr lang="cs-CZ" sz="2200" dirty="0">
                <a:solidFill>
                  <a:srgbClr val="2D3E48"/>
                </a:solidFill>
              </a:rPr>
              <a:t>Před branami města se nacházelo neopevněné předměstí. Zde se nacházely budovy patřící k městu, ale v samotném opevněném městě by byly nebezpečné (práce s ohněm – kovárny, hrnčírny), dále obydlí sloužících a chudiny. </a:t>
            </a:r>
          </a:p>
          <a:p>
            <a:r>
              <a:rPr lang="cs-CZ" sz="2200" dirty="0">
                <a:solidFill>
                  <a:srgbClr val="2D3E48"/>
                </a:solidFill>
              </a:rPr>
              <a:t>Města měla jen několik tisíc obyvatel (nejčastěji kolem 3 000 – jen málo měst více než 10 000 obyvatel).</a:t>
            </a:r>
            <a:endParaRPr lang="cs-CZ" sz="2200" dirty="0"/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F09A0393-CE00-023B-F290-F2F43E857B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564" y="318472"/>
            <a:ext cx="11114314" cy="1314385"/>
          </a:xfrm>
        </p:spPr>
        <p:txBody>
          <a:bodyPr>
            <a:normAutofit fontScale="90000"/>
          </a:bodyPr>
          <a:lstStyle/>
          <a:p>
            <a:pPr algn="ctr"/>
            <a:r>
              <a:rPr lang="cs-CZ" b="1" u="sng" dirty="0"/>
              <a:t>KONTEXT K 1. CVIČENÍ: VZNIK MĚST VE STŘEDOVĚKU:</a:t>
            </a:r>
            <a:br>
              <a:rPr lang="cs-CZ" b="1" u="sng" dirty="0"/>
            </a:br>
            <a:endParaRPr lang="cs-CZ" b="1" u="sng" dirty="0"/>
          </a:p>
        </p:txBody>
      </p:sp>
      <p:pic>
        <p:nvPicPr>
          <p:cNvPr id="10" name="Obrázek 9" descr="Obsah obrázku text, mapa&#10;&#10;Popis byl vytvořen automaticky">
            <a:extLst>
              <a:ext uri="{FF2B5EF4-FFF2-40B4-BE49-F238E27FC236}">
                <a16:creationId xmlns:a16="http://schemas.microsoft.com/office/drawing/2014/main" id="{5DBD5D0C-C525-D820-CC58-B98C3B569C5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16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92151D7-E7B9-FA0A-A1AF-23C77F8666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161" y="1632857"/>
            <a:ext cx="11011678" cy="5032376"/>
          </a:xfrm>
        </p:spPr>
        <p:txBody>
          <a:bodyPr>
            <a:normAutofit/>
          </a:bodyPr>
          <a:lstStyle/>
          <a:p>
            <a:r>
              <a:rPr lang="cs-CZ" sz="2000" b="1" dirty="0"/>
              <a:t>Města královská x poddanská x horní.</a:t>
            </a:r>
          </a:p>
          <a:p>
            <a:r>
              <a:rPr lang="cs-CZ" sz="2000" dirty="0"/>
              <a:t>Každé město disponovalo souborem mimořádných práv, které mu uděloval zakladatel města nebo vrchnost buď hned při založení, nebo kdykoli později, většinou za odměnu.</a:t>
            </a:r>
          </a:p>
          <a:p>
            <a:r>
              <a:rPr lang="cs-CZ" sz="2000" b="1" dirty="0"/>
              <a:t>Právo várečné </a:t>
            </a:r>
            <a:r>
              <a:rPr lang="cs-CZ" sz="2000" dirty="0"/>
              <a:t>- právo vařit pivo.</a:t>
            </a:r>
          </a:p>
          <a:p>
            <a:r>
              <a:rPr lang="cs-CZ" sz="2000" b="1" dirty="0"/>
              <a:t>Právo mílové </a:t>
            </a:r>
            <a:r>
              <a:rPr lang="cs-CZ" sz="2000" dirty="0"/>
              <a:t>- na míli (7,5 km) od města neměla být provozována ta řemesla, jež provozovali měšťané. </a:t>
            </a:r>
          </a:p>
          <a:p>
            <a:r>
              <a:rPr lang="cs-CZ" sz="2000" b="1" dirty="0"/>
              <a:t>Právo hradební </a:t>
            </a:r>
            <a:r>
              <a:rPr lang="cs-CZ" sz="2000" dirty="0"/>
              <a:t>- město získalo vojenský význam, mohlo si postavit opevnění a vlastní vojsko.</a:t>
            </a:r>
          </a:p>
          <a:p>
            <a:r>
              <a:rPr lang="cs-CZ" sz="2000" b="1" dirty="0"/>
              <a:t>Právo hrdelní, atd. atd.</a:t>
            </a:r>
          </a:p>
          <a:p>
            <a:pPr marL="0" indent="0">
              <a:buNone/>
            </a:pPr>
            <a:endParaRPr lang="cs-CZ" sz="2000" dirty="0"/>
          </a:p>
          <a:p>
            <a:r>
              <a:rPr lang="cs-CZ" sz="2000" dirty="0"/>
              <a:t>Do 13. století na našem území velmi řídké osídlení.</a:t>
            </a:r>
          </a:p>
          <a:p>
            <a:r>
              <a:rPr lang="cs-CZ" sz="2000" dirty="0"/>
              <a:t>13. – 15. století významný rozvoj měst. Od počátku 13. století bylo kolonizováno například Českobudějovicko, Českomoravská vrchovina, Jizerské hory, pustá a zalesněná podhoří Český les, Krušné hory, Lužické hory, nebo i Krkonoše. </a:t>
            </a:r>
          </a:p>
          <a:p>
            <a:r>
              <a:rPr lang="cs-CZ" sz="2000" b="1" dirty="0"/>
              <a:t>Kolonizace (vnitřní + vnější – německá).</a:t>
            </a:r>
          </a:p>
          <a:p>
            <a:endParaRPr lang="cs-CZ" sz="2200" b="1" dirty="0"/>
          </a:p>
          <a:p>
            <a:endParaRPr lang="cs-CZ" sz="2200" dirty="0"/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9E3704D6-2D1F-01DD-16DC-57B3C9ADE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564" y="318472"/>
            <a:ext cx="11114314" cy="1314385"/>
          </a:xfrm>
        </p:spPr>
        <p:txBody>
          <a:bodyPr>
            <a:normAutofit fontScale="90000"/>
          </a:bodyPr>
          <a:lstStyle/>
          <a:p>
            <a:pPr algn="ctr"/>
            <a:r>
              <a:rPr lang="cs-CZ" b="1" u="sng" dirty="0"/>
              <a:t>KONTEXT K 1. CVIČENÍ: VZNIK MĚST VE STŘEDOVĚKU:</a:t>
            </a:r>
            <a:br>
              <a:rPr lang="cs-CZ" b="1" u="sng" dirty="0"/>
            </a:br>
            <a:endParaRPr lang="cs-CZ" b="1" u="sng" dirty="0"/>
          </a:p>
        </p:txBody>
      </p:sp>
      <p:pic>
        <p:nvPicPr>
          <p:cNvPr id="7" name="Obrázek 6" descr="Obsah obrázku text, mapa&#10;&#10;Popis byl vytvořen automaticky">
            <a:extLst>
              <a:ext uri="{FF2B5EF4-FFF2-40B4-BE49-F238E27FC236}">
                <a16:creationId xmlns:a16="http://schemas.microsoft.com/office/drawing/2014/main" id="{A23AD99C-AA59-12DA-E14E-9291E6550AF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98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79BC89B-59C7-4D90-BF8E-56E2CBE214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u="sng" dirty="0"/>
              <a:t>TYPY ZAKLÁDANÝCH MĚST 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213BE2B-91D0-4D28-8EE5-6170B295D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4563" y="1828800"/>
            <a:ext cx="3498980" cy="4191000"/>
          </a:xfrm>
        </p:spPr>
        <p:txBody>
          <a:bodyPr/>
          <a:lstStyle/>
          <a:p>
            <a:r>
              <a:rPr lang="cs-CZ" sz="2000" b="1" dirty="0"/>
              <a:t>Hrazená města pravoúhlého půdorysu </a:t>
            </a:r>
            <a:r>
              <a:rPr lang="cs-CZ" sz="2000" dirty="0"/>
              <a:t>s ústředním </a:t>
            </a:r>
            <a:r>
              <a:rPr lang="cs-CZ" sz="2000" b="1" dirty="0"/>
              <a:t>čtvercovým nebo obdélníkovým tržištěm </a:t>
            </a:r>
            <a:r>
              <a:rPr lang="cs-CZ" sz="2000" dirty="0"/>
              <a:t>a s ulicemi vybíhajícími z něho v pravém úhlu.</a:t>
            </a:r>
          </a:p>
          <a:p>
            <a:pPr marL="0" indent="0">
              <a:buNone/>
            </a:pPr>
            <a:endParaRPr lang="cs-CZ" sz="2000" dirty="0"/>
          </a:p>
          <a:p>
            <a:r>
              <a:rPr lang="cs-CZ" b="1" dirty="0"/>
              <a:t>Šumperk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CC872A4-2023-433A-B767-97476948AE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792" y="1700809"/>
            <a:ext cx="6994798" cy="4931315"/>
          </a:xfrm>
          <a:prstGeom prst="rect">
            <a:avLst/>
          </a:prstGeom>
        </p:spPr>
      </p:pic>
      <p:pic>
        <p:nvPicPr>
          <p:cNvPr id="4" name="Obrázek 3" descr="Obsah obrázku text, mapa&#10;&#10;Popis byl vytvořen automaticky">
            <a:extLst>
              <a:ext uri="{FF2B5EF4-FFF2-40B4-BE49-F238E27FC236}">
                <a16:creationId xmlns:a16="http://schemas.microsoft.com/office/drawing/2014/main" id="{DE16FF80-2AC4-31D2-B512-1068160D70BC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605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213BE2B-91D0-4D28-8EE5-6170B295D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3894" y="1828800"/>
            <a:ext cx="4003915" cy="4191000"/>
          </a:xfrm>
        </p:spPr>
        <p:txBody>
          <a:bodyPr/>
          <a:lstStyle/>
          <a:p>
            <a:r>
              <a:rPr lang="cs-CZ" sz="2000" b="1" dirty="0"/>
              <a:t>Hrazená města pravoúhlého půdorysu s ulicovým tržištěm.</a:t>
            </a:r>
          </a:p>
          <a:p>
            <a:pPr marL="0" indent="0">
              <a:buNone/>
            </a:pPr>
            <a:endParaRPr lang="cs-CZ" sz="2000" dirty="0"/>
          </a:p>
          <a:p>
            <a:r>
              <a:rPr lang="cs-CZ" b="1" dirty="0"/>
              <a:t>Brušperk</a:t>
            </a:r>
          </a:p>
          <a:p>
            <a:endParaRPr lang="cs-CZ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15B2690-7031-4F01-B294-499D9C53EF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32" y="1700809"/>
            <a:ext cx="6480720" cy="4759553"/>
          </a:xfrm>
          <a:prstGeom prst="rect">
            <a:avLst/>
          </a:prstGeom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A421A68E-17F6-A573-2F3F-E4875D7C4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cs-CZ" b="1" u="sng" dirty="0"/>
              <a:t>TYPY ZAKLÁDANÝCH MĚST </a:t>
            </a:r>
          </a:p>
        </p:txBody>
      </p:sp>
      <p:pic>
        <p:nvPicPr>
          <p:cNvPr id="8" name="Obrázek 7" descr="Obsah obrázku text, mapa&#10;&#10;Popis byl vytvořen automaticky">
            <a:extLst>
              <a:ext uri="{FF2B5EF4-FFF2-40B4-BE49-F238E27FC236}">
                <a16:creationId xmlns:a16="http://schemas.microsoft.com/office/drawing/2014/main" id="{E8CBDC4E-805D-9BB3-E9A5-57645AD8B10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51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213BE2B-91D0-4D28-8EE5-6170B295D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532" y="1828800"/>
            <a:ext cx="3442996" cy="4191000"/>
          </a:xfrm>
        </p:spPr>
        <p:txBody>
          <a:bodyPr>
            <a:normAutofit/>
          </a:bodyPr>
          <a:lstStyle/>
          <a:p>
            <a:r>
              <a:rPr lang="cs-CZ" sz="2000" dirty="0"/>
              <a:t>Velikostně menší, většinou nehrazená města, která se skládají </a:t>
            </a:r>
            <a:r>
              <a:rPr lang="cs-CZ" sz="2000" b="1" dirty="0"/>
              <a:t>z pravoúhlého tržiště, </a:t>
            </a:r>
            <a:r>
              <a:rPr lang="cs-CZ" sz="2000" dirty="0"/>
              <a:t>popř. ulic z něho vybíhajících, aniž lze však u nich mluvit o ulicové síti.</a:t>
            </a:r>
          </a:p>
          <a:p>
            <a:endParaRPr lang="cs-CZ" sz="2000" dirty="0"/>
          </a:p>
          <a:p>
            <a:r>
              <a:rPr lang="cs-CZ" b="1" dirty="0"/>
              <a:t>Příbo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B6578C26-D184-45E1-B143-3F310B0EF8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1828800"/>
            <a:ext cx="6164692" cy="4509120"/>
          </a:xfrm>
          <a:prstGeom prst="rect">
            <a:avLst/>
          </a:prstGeom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AAABCD7D-09FF-E531-9BCA-BA68EB9A72CB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b="1" u="sng"/>
              <a:t>TYPY ZAKLÁDANÝCH MĚST </a:t>
            </a:r>
            <a:endParaRPr lang="cs-CZ" b="1" u="sng" dirty="0"/>
          </a:p>
        </p:txBody>
      </p:sp>
      <p:pic>
        <p:nvPicPr>
          <p:cNvPr id="8" name="Obrázek 7" descr="Obsah obrázku text, mapa&#10;&#10;Popis byl vytvořen automaticky">
            <a:extLst>
              <a:ext uri="{FF2B5EF4-FFF2-40B4-BE49-F238E27FC236}">
                <a16:creationId xmlns:a16="http://schemas.microsoft.com/office/drawing/2014/main" id="{8BAAE48B-92E3-1A4B-E961-4080D8A0BD4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95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213BE2B-91D0-4D28-8EE5-6170B295D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216" y="1828800"/>
            <a:ext cx="3844213" cy="4191000"/>
          </a:xfrm>
        </p:spPr>
        <p:txBody>
          <a:bodyPr/>
          <a:lstStyle/>
          <a:p>
            <a:r>
              <a:rPr lang="cs-CZ" sz="2000" b="1" dirty="0"/>
              <a:t>Hrazená města s tržištěm jiného tvaru než čtyřúhelníkového.</a:t>
            </a:r>
          </a:p>
          <a:p>
            <a:r>
              <a:rPr lang="cs-CZ" sz="2000" dirty="0"/>
              <a:t>Např. klínový tvar.</a:t>
            </a:r>
          </a:p>
          <a:p>
            <a:pPr marL="0" indent="0">
              <a:buNone/>
            </a:pPr>
            <a:endParaRPr lang="cs-CZ" sz="2000" dirty="0"/>
          </a:p>
          <a:p>
            <a:r>
              <a:rPr lang="cs-CZ" b="1" dirty="0"/>
              <a:t>Slavonice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31E15B22-CB94-47F2-9575-1ACD71FCE8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336" y="1988840"/>
            <a:ext cx="6633629" cy="4492752"/>
          </a:xfrm>
          <a:prstGeom prst="rect">
            <a:avLst/>
          </a:prstGeom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FC9ABC92-4C22-546C-5B46-B25699489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pPr algn="ctr"/>
            <a:r>
              <a:rPr lang="cs-CZ" b="1" u="sng" dirty="0"/>
              <a:t>TYPY ZAKLÁDANÝCH MĚST </a:t>
            </a:r>
          </a:p>
        </p:txBody>
      </p:sp>
      <p:pic>
        <p:nvPicPr>
          <p:cNvPr id="8" name="Obrázek 7" descr="Obsah obrázku text, mapa&#10;&#10;Popis byl vytvořen automaticky">
            <a:extLst>
              <a:ext uri="{FF2B5EF4-FFF2-40B4-BE49-F238E27FC236}">
                <a16:creationId xmlns:a16="http://schemas.microsoft.com/office/drawing/2014/main" id="{ACEDE71B-993F-D1B1-0A25-536B5364FFE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82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75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5fb4870-e8c9-4f9e-95f4-cc79c406e0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E287AF66F725F488780A43562BAF94A" ma:contentTypeVersion="10" ma:contentTypeDescription="Vytvoří nový dokument" ma:contentTypeScope="" ma:versionID="137abefaaf3957ba0f3698cd9721dd70">
  <xsd:schema xmlns:xsd="http://www.w3.org/2001/XMLSchema" xmlns:xs="http://www.w3.org/2001/XMLSchema" xmlns:p="http://schemas.microsoft.com/office/2006/metadata/properties" xmlns:ns3="2b2ac763-2a82-42d3-894b-8c19e4f57a2a" xmlns:ns4="45fb4870-e8c9-4f9e-95f4-cc79c406e0f1" targetNamespace="http://schemas.microsoft.com/office/2006/metadata/properties" ma:root="true" ma:fieldsID="3817fa790c39be2a5a68303585f60200" ns3:_="" ns4:_="">
    <xsd:import namespace="2b2ac763-2a82-42d3-894b-8c19e4f57a2a"/>
    <xsd:import namespace="45fb4870-e8c9-4f9e-95f4-cc79c406e0f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GenerationTime" minOccurs="0"/>
                <xsd:element ref="ns4:MediaServiceEventHashCode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ac763-2a82-42d3-894b-8c19e4f57a2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odnota hash upozornění na sdílení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fb4870-e8c9-4f9e-95f4-cc79c406e0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5300AB4-CEC1-4263-B5E5-0244506540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44E47F-66AF-4A9D-BBDF-3AB9ED0F9A9F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45fb4870-e8c9-4f9e-95f4-cc79c406e0f1"/>
    <ds:schemaRef ds:uri="http://schemas.microsoft.com/office/infopath/2007/PartnerControls"/>
    <ds:schemaRef ds:uri="2b2ac763-2a82-42d3-894b-8c19e4f57a2a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3A0BC71-2ECF-48AB-843D-7A78EB6035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2ac763-2a82-42d3-894b-8c19e4f57a2a"/>
    <ds:schemaRef ds:uri="45fb4870-e8c9-4f9e-95f4-cc79c406e0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1904f23-f0db-4cdc-96f7-390bd55fcee8}" enabled="0" method="" siteId="{11904f23-f0db-4cdc-96f7-390bd55fce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37</TotalTime>
  <Words>870</Words>
  <Application>Microsoft Office PowerPoint</Application>
  <PresentationFormat>Širokoúhlá obrazovka</PresentationFormat>
  <Paragraphs>99</Paragraphs>
  <Slides>16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6</vt:i4>
      </vt:variant>
    </vt:vector>
  </HeadingPairs>
  <TitlesOfParts>
    <vt:vector size="20" baseType="lpstr">
      <vt:lpstr>Arial</vt:lpstr>
      <vt:lpstr>Calibri</vt:lpstr>
      <vt:lpstr>Calibri Light</vt:lpstr>
      <vt:lpstr>Motiv Office</vt:lpstr>
      <vt:lpstr>ÚZEMNÍ PLÁNOVÁNÍ A URBANISMUS</vt:lpstr>
      <vt:lpstr>PODMÍNKY CVIČENÍ</vt:lpstr>
      <vt:lpstr>PODMÍNKY CVIČENÍ</vt:lpstr>
      <vt:lpstr>KONTEXT K 1. CVIČENÍ: VZNIK MĚST VE STŘEDOVĚKU: </vt:lpstr>
      <vt:lpstr>KONTEXT K 1. CVIČENÍ: VZNIK MĚST VE STŘEDOVĚKU: </vt:lpstr>
      <vt:lpstr>TYPY ZAKLÁDANÝCH MĚST </vt:lpstr>
      <vt:lpstr>TYPY ZAKLÁDANÝCH MĚST </vt:lpstr>
      <vt:lpstr>Prezentace aplikace PowerPoint</vt:lpstr>
      <vt:lpstr>TYPY ZAKLÁDANÝCH MĚST </vt:lpstr>
      <vt:lpstr>TYPY ZAKLÁDANÝCH MĚST </vt:lpstr>
      <vt:lpstr>TYPY ZAKLÁDANÝCH MĚST </vt:lpstr>
      <vt:lpstr>ZADÁNÍ CVIČENÍ 1</vt:lpstr>
      <vt:lpstr>Prezentace aplikace PowerPoint</vt:lpstr>
      <vt:lpstr>Prezentace aplikace PowerPoint</vt:lpstr>
      <vt:lpstr>BRNO – VÝVOJ MĚSTA</vt:lpstr>
      <vt:lpstr>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David Gorný</dc:creator>
  <cp:lastModifiedBy>David Gorný</cp:lastModifiedBy>
  <cp:revision>2</cp:revision>
  <dcterms:created xsi:type="dcterms:W3CDTF">2023-09-25T06:18:52Z</dcterms:created>
  <dcterms:modified xsi:type="dcterms:W3CDTF">2023-10-02T13:3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287AF66F725F488780A43562BAF94A</vt:lpwstr>
  </property>
</Properties>
</file>